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  <p:sldMasterId id="2147483806" r:id="rId2"/>
  </p:sldMasterIdLst>
  <p:notesMasterIdLst>
    <p:notesMasterId r:id="rId12"/>
  </p:notesMasterIdLst>
  <p:sldIdLst>
    <p:sldId id="276" r:id="rId3"/>
    <p:sldId id="321" r:id="rId4"/>
    <p:sldId id="320" r:id="rId5"/>
    <p:sldId id="335" r:id="rId6"/>
    <p:sldId id="323" r:id="rId7"/>
    <p:sldId id="322" r:id="rId8"/>
    <p:sldId id="332" r:id="rId9"/>
    <p:sldId id="333" r:id="rId10"/>
    <p:sldId id="334" r:id="rId11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13"/>
    </p:embeddedFont>
    <p:embeddedFont>
      <p:font typeface="Arial Bold" panose="020B0704020202020204" pitchFamily="34" charset="0"/>
      <p:bold r:id="rId14"/>
    </p:embeddedFont>
    <p:embeddedFont>
      <p:font typeface="Raleway" pitchFamily="2" charset="0"/>
      <p:regular r:id="rId15"/>
      <p:bold r:id="rId16"/>
      <p:italic r:id="rId17"/>
      <p:boldItalic r:id="rId18"/>
    </p:embeddedFont>
    <p:embeddedFont>
      <p:font typeface="Varela" panose="020B0604020202020204" charset="0"/>
      <p:regular r:id="rId1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B3E"/>
    <a:srgbClr val="1D202D"/>
    <a:srgbClr val="282E3F"/>
    <a:srgbClr val="696E7C"/>
    <a:srgbClr val="656875"/>
    <a:srgbClr val="D6E5EE"/>
    <a:srgbClr val="C2C1C0"/>
    <a:srgbClr val="E9E9E9"/>
    <a:srgbClr val="33323D"/>
    <a:srgbClr val="2C2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7FEA4BB-FC8C-4413-B31B-8ECB4AB8C58C}">
  <a:tblStyle styleId="{87FEA4BB-FC8C-4413-B31B-8ECB4AB8C5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249" autoAdjust="0"/>
  </p:normalViewPr>
  <p:slideViewPr>
    <p:cSldViewPr snapToGrid="0">
      <p:cViewPr varScale="1">
        <p:scale>
          <a:sx n="92" d="100"/>
          <a:sy n="92" d="100"/>
        </p:scale>
        <p:origin x="75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8742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3963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9545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86924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3286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89614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28853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3209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20EB8-D16F-0D41-80FD-C7F8046D0D90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2967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81E64D-5A4C-D340-8AD8-9477351E7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10C20BE2-BFE4-094D-8879-A05F3EC093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545EB04-2E7D-5342-A4F1-37FF3CAFE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E61F9-FC32-9E4E-82BF-2B724171432F}" type="datetimeFigureOut">
              <a:rPr lang="it-IT" smtClean="0"/>
              <a:t>05/0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1B775FC-32DC-3A49-9D5B-321455616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D5BAB01-8EDC-C74D-A903-7EB017C97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95E166-5124-4F45-AA84-1F66835FEF43}" type="slidenum">
              <a:rPr lang="it-IT" smtClean="0"/>
              <a:t>‹#›</a:t>
            </a:fld>
            <a:endParaRPr lang="it-IT"/>
          </a:p>
        </p:txBody>
      </p:sp>
      <p:sp>
        <p:nvSpPr>
          <p:cNvPr id="7" name="AutoShape 2" descr="Image result for python code logo"/>
          <p:cNvSpPr>
            <a:spLocks noChangeAspect="1" noChangeArrowheads="1"/>
          </p:cNvSpPr>
          <p:nvPr userDrawn="1"/>
        </p:nvSpPr>
        <p:spPr bwMode="auto">
          <a:xfrm>
            <a:off x="116681" y="-451247"/>
            <a:ext cx="9429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50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264" y="0"/>
            <a:ext cx="9429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5">
            <a:extLst>
              <a:ext uri="{FF2B5EF4-FFF2-40B4-BE49-F238E27FC236}">
                <a16:creationId xmlns:a16="http://schemas.microsoft.com/office/drawing/2014/main" id="{1960640D-3264-445D-B8E2-486F4F145D3D}"/>
              </a:ext>
            </a:extLst>
          </p:cNvPr>
          <p:cNvSpPr txBox="1"/>
          <p:nvPr userDrawn="1"/>
        </p:nvSpPr>
        <p:spPr>
          <a:xfrm>
            <a:off x="7904590" y="4866501"/>
            <a:ext cx="1239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Haarlem Deco DEMO" pitchFamily="2" charset="0"/>
              </a:rPr>
              <a:t>Lorenzo Cerreta</a:t>
            </a:r>
          </a:p>
        </p:txBody>
      </p:sp>
    </p:spTree>
    <p:extLst>
      <p:ext uri="{BB962C8B-B14F-4D97-AF65-F5344CB8AC3E}">
        <p14:creationId xmlns:p14="http://schemas.microsoft.com/office/powerpoint/2010/main" val="1614573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A8C98AA-92FF-4AFE-8ADC-95B822B9EA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152235"/>
              </a:gs>
              <a:gs pos="100000">
                <a:srgbClr val="152235">
                  <a:alpha val="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76A5A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984875"/>
            <a:ext cx="2383800" cy="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715123"/>
            <a:ext cx="4762200" cy="27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╺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1pPr>
            <a:lvl2pPr marL="914400" lvl="1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2pPr>
            <a:lvl3pPr marL="1371600" lvl="2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3pPr>
            <a:lvl4pPr marL="1828800" lvl="3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4pPr>
            <a:lvl5pPr marL="2286000" lvl="4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5pPr>
            <a:lvl6pPr marL="2743200" lvl="5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6pPr>
            <a:lvl7pPr marL="3200400" lvl="6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7pPr>
            <a:lvl8pPr marL="3657600" lvl="7" indent="-3175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8pPr>
            <a:lvl9pPr marL="4114800" lvl="8" indent="-31750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1400"/>
              <a:buFont typeface="Varela"/>
              <a:buChar char="╶"/>
              <a:defRPr>
                <a:solidFill>
                  <a:schemeClr val="lt1"/>
                </a:solidFill>
                <a:latin typeface="Varela"/>
                <a:ea typeface="Varela"/>
                <a:cs typeface="Varela"/>
                <a:sym typeface="Varel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57200" y="4673650"/>
            <a:ext cx="548700" cy="24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lvl="1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lvl="2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lvl="3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lvl="4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lvl="5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lvl="6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lvl="7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lvl="8">
              <a:buNone/>
              <a:defRPr sz="1000" b="1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871" r:id="rId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2C0BCE8-C25E-42D0-87E8-C1D98EBCE00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3" y="249057"/>
            <a:ext cx="8618537" cy="582104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r>
              <a:rPr lang="en-US" dirty="0"/>
              <a:t>CONTEN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763" y="1323054"/>
            <a:ext cx="8618537" cy="3229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4" y="4779120"/>
            <a:ext cx="578213" cy="14421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20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p:hf hdr="0" ftr="0" dt="0"/>
  <p:txStyles>
    <p:titleStyle>
      <a:lvl1pPr algn="l" defTabSz="1301008" rtl="0" eaLnBrk="1" latinLnBrk="0" hangingPunct="1">
        <a:lnSpc>
          <a:spcPct val="80000"/>
        </a:lnSpc>
        <a:spcBef>
          <a:spcPct val="0"/>
        </a:spcBef>
        <a:buNone/>
        <a:defRPr sz="2400" b="0" i="0" kern="1200" cap="all" spc="-100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50" indent="-136525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3" indent="-144463" algn="l" defTabSz="1301008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504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1008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512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2017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521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3025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529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4033" algn="l" defTabSz="1301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3" userDrawn="1">
          <p15:clr>
            <a:srgbClr val="F26B43"/>
          </p15:clr>
        </p15:guide>
        <p15:guide id="4" pos="5592" userDrawn="1">
          <p15:clr>
            <a:srgbClr val="F26B43"/>
          </p15:clr>
        </p15:guide>
        <p15:guide id="5" orient="horz" pos="852" userDrawn="1">
          <p15:clr>
            <a:srgbClr val="F26B43"/>
          </p15:clr>
        </p15:guide>
        <p15:guide id="7" orient="horz" pos="156" userDrawn="1">
          <p15:clr>
            <a:srgbClr val="F26B43"/>
          </p15:clr>
        </p15:guide>
        <p15:guide id="8" orient="horz" pos="2868" userDrawn="1">
          <p15:clr>
            <a:srgbClr val="F26B43"/>
          </p15:clr>
        </p15:guide>
        <p15:guide id="9" orient="horz" pos="1524" userDrawn="1">
          <p15:clr>
            <a:srgbClr val="F26B43"/>
          </p15:clr>
        </p15:guide>
        <p15:guide id="10" orient="horz" pos="30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lorenzo-cerreta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gle/BcHSGo8NGEbkQoF9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naconda.com/products/individual" TargetMode="External"/><Relationship Id="rId7" Type="http://schemas.openxmlformats.org/officeDocument/2006/relationships/hyperlink" Target="https://colab.research.google.com/github/ElLorans/PythonCrashCourse/blob/main/notebooks/1%20-%20strings.ipynb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colab.research.google.com/" TargetMode="External"/><Relationship Id="rId5" Type="http://schemas.openxmlformats.org/officeDocument/2006/relationships/hyperlink" Target="https://www.python.org/downloads/release/python-399/" TargetMode="External"/><Relationship Id="rId4" Type="http://schemas.openxmlformats.org/officeDocument/2006/relationships/hyperlink" Target="https://docs.conda.io/en/latest/miniconda.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Lorans/PythonCrashCours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lLorans/PythonCrashCours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1468"/>
            <a:ext cx="9144000" cy="1790700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/>
          </a:bodyPr>
          <a:lstStyle/>
          <a:p>
            <a:r>
              <a:rPr lang="it-IT" sz="5400" dirty="0">
                <a:solidFill>
                  <a:srgbClr val="FFC202"/>
                </a:solidFill>
                <a:latin typeface="Haarlem Deco DEMO" pitchFamily="2" charset="0"/>
              </a:rPr>
              <a:t>Python Crash Cours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1C651C9-A782-534A-A611-4AD781D33289}"/>
              </a:ext>
            </a:extLst>
          </p:cNvPr>
          <p:cNvSpPr txBox="1"/>
          <p:nvPr/>
        </p:nvSpPr>
        <p:spPr>
          <a:xfrm>
            <a:off x="2688535" y="1532902"/>
            <a:ext cx="37669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50" dirty="0">
                <a:latin typeface="Haarlem Deco DEMO" pitchFamily="2" charset="0"/>
              </a:rPr>
              <a:t>08 January 202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1" y="3463076"/>
            <a:ext cx="914399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700" dirty="0">
                <a:latin typeface="Haarlem Deco DEMO" pitchFamily="2" charset="0"/>
              </a:rPr>
              <a:t>Lesson 1</a:t>
            </a:r>
          </a:p>
        </p:txBody>
      </p:sp>
    </p:spTree>
    <p:extLst>
      <p:ext uri="{BB962C8B-B14F-4D97-AF65-F5344CB8AC3E}">
        <p14:creationId xmlns:p14="http://schemas.microsoft.com/office/powerpoint/2010/main" val="3881554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068" y="623667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About me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85943-4C25-4581-AF79-BA9A7A7F4770}"/>
              </a:ext>
            </a:extLst>
          </p:cNvPr>
          <p:cNvSpPr txBox="1"/>
          <p:nvPr/>
        </p:nvSpPr>
        <p:spPr>
          <a:xfrm>
            <a:off x="360739" y="1131499"/>
            <a:ext cx="8227676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Accenture Chair 2020 alumnu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Senior FP&amp;A Analyst at Campar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Focus on: Corporate Finance and Office Autom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Taught last Python Crash Cours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Linkedin: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lorenzo-cerreta/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Email: b00758824@essec.edu / lorenzo.cerreta@gmail.com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523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208431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Syllabus: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649702"/>
            <a:ext cx="817164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latin typeface="Haarlem Deco DEMO" pitchFamily="2" charset="0"/>
              </a:rPr>
              <a:t>Slot 1 - Introduc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ata types (ints, floats, strings, bools)</a:t>
            </a:r>
          </a:p>
          <a:p>
            <a:endParaRPr lang="it-IT" sz="2000" b="1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2 – «guess a number» gam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ata types (list, dic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loops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3 – «what’s your favourite tv series» gam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functions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Slot 4 – web scraping for win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connecting to a websi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downloading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501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208431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The course: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649702"/>
            <a:ext cx="81716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b="1" dirty="0">
                <a:latin typeface="Haarlem Deco DEMO" pitchFamily="2" charset="0"/>
              </a:rPr>
              <a:t>If you need the basics: </a:t>
            </a:r>
            <a:r>
              <a:rPr lang="it-IT" sz="2000" dirty="0">
                <a:latin typeface="Haarlem Deco DEMO" pitchFamily="2" charset="0"/>
              </a:rPr>
              <a:t>follow the lessons and acquire the skills required from the Chai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b="1" dirty="0">
                <a:latin typeface="Haarlem Deco DEMO" pitchFamily="2" charset="0"/>
              </a:rPr>
              <a:t>If you are intermediate:</a:t>
            </a:r>
            <a:r>
              <a:rPr lang="it-IT" sz="2000" dirty="0">
                <a:latin typeface="Haarlem Deco DEMO" pitchFamily="2" charset="0"/>
              </a:rPr>
              <a:t> complete the «FeelBored» exercises and get feedback (come back for lesson 4)</a:t>
            </a:r>
            <a:endParaRPr lang="it-IT" sz="2000" b="1" dirty="0">
              <a:latin typeface="Haarlem Deco DEMO" pitchFamily="2" charset="0"/>
            </a:endParaRP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2DACD22E-FAC9-47D6-8029-DC9ED3EEFBA1}"/>
              </a:ext>
            </a:extLst>
          </p:cNvPr>
          <p:cNvSpPr txBox="1">
            <a:spLocks/>
          </p:cNvSpPr>
          <p:nvPr/>
        </p:nvSpPr>
        <p:spPr>
          <a:xfrm>
            <a:off x="150470" y="2747582"/>
            <a:ext cx="3437681" cy="50783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 fontScale="9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A few requests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185943-4C25-4581-AF79-BA9A7A7F4770}"/>
              </a:ext>
            </a:extLst>
          </p:cNvPr>
          <p:cNvSpPr txBox="1"/>
          <p:nvPr/>
        </p:nvSpPr>
        <p:spPr>
          <a:xfrm>
            <a:off x="360740" y="3248831"/>
            <a:ext cx="83549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Turn camera 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Try to do as many exercises as possi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Ask questions / feedb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Complete a short questionnaire using </a:t>
            </a:r>
            <a:r>
              <a:rPr lang="it-IT" sz="2000" b="1" dirty="0">
                <a:latin typeface="Haarlem Deco DEMO" pitchFamily="2" charset="0"/>
              </a:rPr>
              <a:t>only</a:t>
            </a:r>
            <a:r>
              <a:rPr lang="it-IT" sz="2000" dirty="0">
                <a:latin typeface="Haarlem Deco DEMO" pitchFamily="2" charset="0"/>
              </a:rPr>
              <a:t> your knowledge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orms.gle/BcHSGo8NGEbkQoF99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032A4A12-1151-4E90-9FCA-79005F69E9DF}"/>
              </a:ext>
            </a:extLst>
          </p:cNvPr>
          <p:cNvSpPr txBox="1">
            <a:spLocks/>
          </p:cNvSpPr>
          <p:nvPr/>
        </p:nvSpPr>
        <p:spPr>
          <a:xfrm>
            <a:off x="150470" y="1921991"/>
            <a:ext cx="3437681" cy="50783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rmAutofit fontScale="9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Material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508480-C913-45B9-A06A-396A6B612263}"/>
              </a:ext>
            </a:extLst>
          </p:cNvPr>
          <p:cNvSpPr txBox="1"/>
          <p:nvPr/>
        </p:nvSpPr>
        <p:spPr>
          <a:xfrm>
            <a:off x="360740" y="2338928"/>
            <a:ext cx="76373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Based, with minor changes, on Jerry Pussinen (2018), </a:t>
            </a:r>
            <a:r>
              <a:rPr lang="it-IT" sz="2000" i="1" dirty="0">
                <a:latin typeface="Haarlem Deco DEMO" pitchFamily="2" charset="0"/>
              </a:rPr>
              <a:t>Learn Python 3</a:t>
            </a:r>
            <a:r>
              <a:rPr lang="it-IT" sz="2000" dirty="0">
                <a:latin typeface="Haarlem Deco DEMO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8668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Installing Pyth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Haarlem Deco DEMO" pitchFamily="2" charset="0"/>
              </a:rPr>
              <a:t>On Mac, Python2 is already installed. DO NOT UNINSTALL IT, or you will break your Mac! You still need to install Python3.</a:t>
            </a:r>
          </a:p>
          <a:p>
            <a:endParaRPr lang="it-IT" sz="2000" dirty="0">
              <a:latin typeface="Haarlem Deco DEMO" pitchFamily="2" charset="0"/>
            </a:endParaRPr>
          </a:p>
          <a:p>
            <a:r>
              <a:rPr lang="it-IT" sz="2000" b="1" dirty="0">
                <a:latin typeface="Haarlem Deco DEMO" pitchFamily="2" charset="0"/>
              </a:rPr>
              <a:t>Choose one of the suggested installation:</a:t>
            </a:r>
            <a:endParaRPr lang="it-IT" sz="2000" dirty="0"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aconda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it-IT" sz="2000" dirty="0">
                <a:latin typeface="Haarlem Deco DEMO" pitchFamily="2" charset="0"/>
              </a:rPr>
              <a:t>(recommended, especially on Windows)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niconda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(if you have low space on your PC </a:t>
            </a:r>
            <a:r>
              <a:rPr lang="it-IT" sz="2000" b="1" dirty="0">
                <a:solidFill>
                  <a:schemeClr val="tx1"/>
                </a:solidFill>
                <a:latin typeface="Haarlem Deco DEMO" pitchFamily="2" charset="0"/>
              </a:rPr>
              <a:t>or</a:t>
            </a: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 you know how to use the terminal in place of a GUI)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ython.org (Vanilla Python)</a:t>
            </a: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 (not particularly recommended)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ogle Colab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</a:rPr>
              <a:t> </a:t>
            </a:r>
            <a:r>
              <a:rPr lang="it-IT" sz="2000" dirty="0">
                <a:solidFill>
                  <a:schemeClr val="tx1"/>
                </a:solidFill>
                <a:latin typeface="Haarlem Deco DEMO" pitchFamily="2" charset="0"/>
              </a:rPr>
              <a:t>(no installation). You can run the first notebook with this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363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598FB2A1-948F-4023-9AA9-F77AB9453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270" y="0"/>
            <a:ext cx="338345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729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470" y="509372"/>
            <a:ext cx="3437681" cy="50783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rmAutofit fontScale="90000"/>
          </a:bodyPr>
          <a:lstStyle/>
          <a:p>
            <a:pPr algn="l"/>
            <a:r>
              <a:rPr lang="it-IT" sz="2800" dirty="0">
                <a:solidFill>
                  <a:srgbClr val="FFC202"/>
                </a:solidFill>
                <a:latin typeface="Haarlem Deco DEMO" pitchFamily="2" charset="0"/>
              </a:rPr>
              <a:t>Course Material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4993" y="1033771"/>
            <a:ext cx="835499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latin typeface="Haarlem Deco DEMO" pitchFamily="2" charset="0"/>
              </a:rPr>
              <a:t>Course Materials will be available on Github (Github is to programmers something like Wikipedia + Google Docs): </a:t>
            </a:r>
            <a:r>
              <a:rPr lang="it-IT" sz="20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lLorans/PythonCrashCourse</a:t>
            </a: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solidFill>
                <a:srgbClr val="0070C0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252B3E"/>
                </a:solidFill>
                <a:latin typeface="Haarlem Deco DEMO" pitchFamily="2" charset="0"/>
              </a:rPr>
              <a:t>You will find a folder with the notebooks we will show in class and a folder named «exercises». If «JupyterExercises» and «PyExercises» are too easy for you, feel free to try the «FeelBored» fold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solidFill>
                <a:srgbClr val="252B3E"/>
              </a:solidFill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252B3E"/>
                </a:solidFill>
                <a:latin typeface="Haarlem Deco DEMO" pitchFamily="2" charset="0"/>
              </a:rPr>
              <a:t>If you want to ask a question that can benefit the whole class, please raise an issue on Github.</a:t>
            </a:r>
          </a:p>
          <a:p>
            <a:endParaRPr lang="it-IT" sz="20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501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0663" y="733530"/>
            <a:ext cx="3537275" cy="625318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/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End of the cours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4501" y="1646721"/>
            <a:ext cx="83549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Haarlem Deco DEMO" pitchFamily="2" charset="0"/>
              </a:rPr>
              <a:t>For the next 2 weeks, I will answer questions about exercises at b00758824@essec.ed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>
              <a:latin typeface="Haarlem Deco DEMO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Haarlem Deco DEMO" pitchFamily="2" charset="0"/>
              </a:rPr>
              <a:t>Exercises are available at </a:t>
            </a:r>
            <a:r>
              <a:rPr lang="en-GB" sz="2400" dirty="0">
                <a:solidFill>
                  <a:srgbClr val="0070C0"/>
                </a:solidFill>
                <a:latin typeface="Haarlem Deco DEMO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ElLorans/PythonCrashCourse</a:t>
            </a:r>
            <a:endParaRPr lang="en-GB" sz="2400" dirty="0">
              <a:latin typeface="Haarlem Deco DEM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099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364F4-D156-0744-B329-EC3AEB767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133" y="-21382"/>
            <a:ext cx="5721039" cy="1392982"/>
          </a:xfrm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/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Sorry for the long ppt</a:t>
            </a:r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C2DB945E-D3E1-49BB-AD6E-55638B9D8DD4}"/>
              </a:ext>
            </a:extLst>
          </p:cNvPr>
          <p:cNvSpPr txBox="1">
            <a:spLocks/>
          </p:cNvSpPr>
          <p:nvPr/>
        </p:nvSpPr>
        <p:spPr>
          <a:xfrm>
            <a:off x="3267016" y="2671372"/>
            <a:ext cx="5721039" cy="139298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45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aleway"/>
              <a:buNone/>
              <a:defRPr sz="1800" b="1" i="0" u="none" strike="noStrike" cap="none">
                <a:solidFill>
                  <a:schemeClr val="lt1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l"/>
            <a:r>
              <a:rPr lang="it-IT" sz="3200" dirty="0">
                <a:solidFill>
                  <a:srgbClr val="FFC202"/>
                </a:solidFill>
                <a:latin typeface="Haarlem Deco DEMO" pitchFamily="2" charset="0"/>
              </a:rPr>
              <a:t>Here is a Python</a:t>
            </a:r>
          </a:p>
        </p:txBody>
      </p:sp>
    </p:spTree>
    <p:extLst>
      <p:ext uri="{BB962C8B-B14F-4D97-AF65-F5344CB8AC3E}">
        <p14:creationId xmlns:p14="http://schemas.microsoft.com/office/powerpoint/2010/main" val="3827758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H7IFAx3T1OAV5yr3X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gozine template">
  <a:themeElements>
    <a:clrScheme name="Custom 347">
      <a:dk1>
        <a:srgbClr val="000000"/>
      </a:dk1>
      <a:lt1>
        <a:srgbClr val="FFFFFF"/>
      </a:lt1>
      <a:dk2>
        <a:srgbClr val="EFEFEF"/>
      </a:dk2>
      <a:lt2>
        <a:srgbClr val="727375"/>
      </a:lt2>
      <a:accent1>
        <a:srgbClr val="8BBCE4"/>
      </a:accent1>
      <a:accent2>
        <a:srgbClr val="657B9E"/>
      </a:accent2>
      <a:accent3>
        <a:srgbClr val="C99287"/>
      </a:accent3>
      <a:accent4>
        <a:srgbClr val="B36151"/>
      </a:accent4>
      <a:accent5>
        <a:srgbClr val="D5A6BD"/>
      </a:accent5>
      <a:accent6>
        <a:srgbClr val="A58194"/>
      </a:accent6>
      <a:hlink>
        <a:srgbClr val="FFFFFF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5</TotalTime>
  <Words>463</Words>
  <Application>Microsoft Office PowerPoint</Application>
  <PresentationFormat>On-screen Show (16:9)</PresentationFormat>
  <Paragraphs>63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Haarlem Deco DEMO</vt:lpstr>
      <vt:lpstr>Arial Bold</vt:lpstr>
      <vt:lpstr>Raleway</vt:lpstr>
      <vt:lpstr>Varela</vt:lpstr>
      <vt:lpstr>Twentieth Century</vt:lpstr>
      <vt:lpstr>Arial Black</vt:lpstr>
      <vt:lpstr>Arial</vt:lpstr>
      <vt:lpstr>Ragozine template</vt:lpstr>
      <vt:lpstr>Accenture aug2016</vt:lpstr>
      <vt:lpstr>think-cell Slide</vt:lpstr>
      <vt:lpstr>Python Crash Course</vt:lpstr>
      <vt:lpstr>About me:</vt:lpstr>
      <vt:lpstr>Syllabus:</vt:lpstr>
      <vt:lpstr>The course:</vt:lpstr>
      <vt:lpstr>Installing Python</vt:lpstr>
      <vt:lpstr>PowerPoint Presentation</vt:lpstr>
      <vt:lpstr>Course Materials</vt:lpstr>
      <vt:lpstr>End of the course</vt:lpstr>
      <vt:lpstr>Sorry for the long pp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nzo Cerreta Novartis 2020</dc:title>
  <dc:creator>CERRETA Lorenzo</dc:creator>
  <cp:lastModifiedBy>LORENZO CERRETA</cp:lastModifiedBy>
  <cp:revision>98</cp:revision>
  <dcterms:modified xsi:type="dcterms:W3CDTF">2022-01-06T23:20:50Z</dcterms:modified>
</cp:coreProperties>
</file>